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94" r:id="rId2"/>
    <p:sldId id="306" r:id="rId3"/>
    <p:sldId id="824" r:id="rId4"/>
    <p:sldId id="822" r:id="rId5"/>
    <p:sldId id="302" r:id="rId6"/>
    <p:sldId id="304" r:id="rId7"/>
    <p:sldId id="303" r:id="rId8"/>
    <p:sldId id="305" r:id="rId9"/>
    <p:sldId id="275" r:id="rId10"/>
    <p:sldId id="825" r:id="rId11"/>
    <p:sldId id="826" r:id="rId12"/>
    <p:sldId id="827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78" autoAdjust="0"/>
    <p:restoredTop sz="94660"/>
  </p:normalViewPr>
  <p:slideViewPr>
    <p:cSldViewPr>
      <p:cViewPr varScale="1">
        <p:scale>
          <a:sx n="83" d="100"/>
          <a:sy n="83" d="100"/>
        </p:scale>
        <p:origin x="1522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</a:t>
          </a:r>
          <a:r>
            <a:rPr lang="ru-RU" sz="1200" b="1" dirty="0" smtClean="0"/>
            <a:t>ДОУ</a:t>
          </a:r>
          <a:endParaRPr lang="ru-RU" sz="1200" b="1" dirty="0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</a:t>
          </a:r>
          <a:r>
            <a:rPr lang="ru-RU" sz="1200" b="1" kern="1200" dirty="0" smtClean="0"/>
            <a:t>ДОУ</a:t>
          </a:r>
          <a:endParaRPr lang="ru-RU" sz="1200" b="1" kern="1200" dirty="0"/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6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6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.jpe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.jpeg"/><Relationship Id="rId7" Type="http://schemas.openxmlformats.org/officeDocument/2006/relationships/image" Target="../media/image2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5.emf"/><Relationship Id="rId7" Type="http://schemas.openxmlformats.org/officeDocument/2006/relationships/image" Target="../media/image8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31998" y="683939"/>
            <a:ext cx="7624018" cy="11079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Муниципальное бюджетное дошкольное образовательное учреждение</a:t>
            </a:r>
          </a:p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«Детский сад № 404 г. Челябинска»</a:t>
            </a:r>
          </a:p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_____________________________________________________________________</a:t>
            </a:r>
          </a:p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454084, г. Челябинск, ул. </a:t>
            </a:r>
            <a:r>
              <a:rPr lang="ru-RU" sz="1200" dirty="0" err="1">
                <a:latin typeface="Times New Roman" pitchFamily="18" charset="0"/>
                <a:cs typeface="Times New Roman" pitchFamily="18" charset="0"/>
              </a:rPr>
              <a:t>Каслинская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, 19-Г, тел./факс 8 (351) 791-47-51, mdou404@mail.ru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4653136"/>
            <a:ext cx="4851575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МБДОУ</a:t>
            </a:r>
          </a:p>
          <a:p>
            <a:pPr algn="r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ДС № 404г. Челябинска»</a:t>
            </a:r>
          </a:p>
          <a:p>
            <a:pPr algn="r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. А.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ьянцев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573881" y="3131468"/>
            <a:ext cx="8163943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одготовки к индивидуальному занятию учителя-логопеда»</a:t>
            </a:r>
            <a:endParaRPr lang="ru-RU" sz="2000" b="1" i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927512" y="341125"/>
            <a:ext cx="7240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0905" y="1035241"/>
            <a:ext cx="2060158" cy="274687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3292" y="3608548"/>
            <a:ext cx="1992671" cy="265689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548070" y="701165"/>
            <a:ext cx="427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</a:rPr>
              <a:t>Фото ДО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6"/>
          <a:srcRect t="7282" r="7008"/>
          <a:stretch/>
        </p:blipFill>
        <p:spPr>
          <a:xfrm>
            <a:off x="3026494" y="1162830"/>
            <a:ext cx="1999173" cy="265775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4583" y="3522993"/>
            <a:ext cx="1961791" cy="261572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25836" y="1206707"/>
            <a:ext cx="2825692" cy="211926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84920" y="3490468"/>
            <a:ext cx="1863040" cy="2484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199940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3203848" y="446219"/>
            <a:ext cx="2669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Фото ПОСЛЕ</a:t>
            </a:r>
            <a:endParaRPr lang="ru-RU" sz="2400" b="1" dirty="0">
              <a:solidFill>
                <a:srgbClr val="FF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9952" y="359629"/>
            <a:ext cx="1923986" cy="256531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l="24875" b="29780"/>
          <a:stretch/>
        </p:blipFill>
        <p:spPr>
          <a:xfrm>
            <a:off x="129933" y="1431216"/>
            <a:ext cx="1696804" cy="211471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 r="11331" b="15226"/>
          <a:stretch/>
        </p:blipFill>
        <p:spPr>
          <a:xfrm>
            <a:off x="1799589" y="708555"/>
            <a:ext cx="1802015" cy="22971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5018" y="3134626"/>
            <a:ext cx="1666498" cy="222199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9603" y="1010136"/>
            <a:ext cx="2258644" cy="169398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7274" y="3620646"/>
            <a:ext cx="2132478" cy="162366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0"/>
          <a:srcRect l="12930" r="3109" b="43053"/>
          <a:stretch/>
        </p:blipFill>
        <p:spPr>
          <a:xfrm>
            <a:off x="2669594" y="2895483"/>
            <a:ext cx="3334636" cy="1895576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27280" y="4885966"/>
            <a:ext cx="3383533" cy="1542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5230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2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2627499" y="461688"/>
            <a:ext cx="40875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2800" b="1" dirty="0"/>
              <a:t>Достигнутые результаты </a:t>
            </a:r>
            <a:endParaRPr lang="ru-RU" sz="2800" dirty="0"/>
          </a:p>
        </p:txBody>
      </p:sp>
      <p:sp>
        <p:nvSpPr>
          <p:cNvPr id="7" name="Содержимое 4"/>
          <p:cNvSpPr>
            <a:spLocks noGrp="1"/>
          </p:cNvSpPr>
          <p:nvPr>
            <p:ph idx="4294967295"/>
          </p:nvPr>
        </p:nvSpPr>
        <p:spPr>
          <a:xfrm>
            <a:off x="395536" y="910409"/>
            <a:ext cx="8229600" cy="461963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 smtClean="0">
                <a:solidFill>
                  <a:srgbClr val="002060"/>
                </a:solidFill>
              </a:rPr>
              <a:t>Время протекания процесса:</a:t>
            </a:r>
            <a:r>
              <a:rPr lang="en-US" altLang="ru-RU" sz="2400" b="1" dirty="0" smtClean="0">
                <a:solidFill>
                  <a:srgbClr val="002060"/>
                </a:solidFill>
                <a:latin typeface="Franklin Gothic Book" pitchFamily="34" charset="0"/>
              </a:rPr>
              <a:t> </a:t>
            </a:r>
            <a:endParaRPr lang="ru-RU" altLang="ru-RU" sz="2400" b="1" dirty="0" smtClean="0">
              <a:solidFill>
                <a:srgbClr val="002060"/>
              </a:solidFill>
            </a:endParaRPr>
          </a:p>
        </p:txBody>
      </p:sp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179512" y="1372372"/>
            <a:ext cx="4105275" cy="2816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150000"/>
              </a:lnSpc>
            </a:pPr>
            <a:r>
              <a:rPr lang="ru-RU" sz="2000" b="1" dirty="0">
                <a:solidFill>
                  <a:srgbClr val="006600"/>
                </a:solidFill>
                <a:latin typeface="Calibri" pitchFamily="34" charset="0"/>
              </a:rPr>
              <a:t>БЫЛО</a:t>
            </a:r>
            <a:r>
              <a:rPr lang="ru-RU" sz="2000" dirty="0" smtClean="0">
                <a:solidFill>
                  <a:srgbClr val="006600"/>
                </a:solidFill>
                <a:latin typeface="Calibri" pitchFamily="34" charset="0"/>
              </a:rPr>
              <a:t>:</a:t>
            </a:r>
            <a:endParaRPr lang="ru-RU" sz="12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0" hangingPunct="0">
              <a:lnSpc>
                <a:spcPct val="150000"/>
              </a:lnSpc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Составление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рабочей документации учителем –логопедом -10 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ин</a:t>
            </a:r>
          </a:p>
          <a:p>
            <a:pPr algn="ctr" eaLnBrk="0" hangingPunct="0">
              <a:lnSpc>
                <a:spcPct val="150000"/>
              </a:lnSpc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Ежедневное заполнение журнала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по коррекционной работе –5 мин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0" hangingPunct="0">
              <a:lnSpc>
                <a:spcPct val="150000"/>
              </a:lnSpc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Поиск   и подготовка  материалов к занятию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20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ин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lvl="0" algn="ctr" eaLnBrk="0" hangingPunct="0">
              <a:lnSpc>
                <a:spcPct val="150000"/>
              </a:lnSpc>
            </a:pPr>
            <a:r>
              <a:rPr lang="ru-RU" sz="1200" b="1" dirty="0" smtClean="0">
                <a:solidFill>
                  <a:srgbClr val="FF0000"/>
                </a:solidFill>
              </a:rPr>
              <a:t>Итого </a:t>
            </a:r>
            <a:r>
              <a:rPr lang="ru-RU" sz="1200" b="1" dirty="0" smtClean="0">
                <a:solidFill>
                  <a:srgbClr val="FF0000"/>
                </a:solidFill>
              </a:rPr>
              <a:t>:  </a:t>
            </a:r>
            <a:r>
              <a:rPr lang="ru-RU" sz="1200" b="1" dirty="0" smtClean="0">
                <a:solidFill>
                  <a:srgbClr val="FF0000"/>
                </a:solidFill>
              </a:rPr>
              <a:t>45 </a:t>
            </a:r>
            <a:r>
              <a:rPr lang="ru-RU" sz="1200" b="1" dirty="0" smtClean="0">
                <a:solidFill>
                  <a:srgbClr val="FF0000"/>
                </a:solidFill>
              </a:rPr>
              <a:t>мин </a:t>
            </a:r>
            <a:endParaRPr lang="ru-RU" sz="1200" b="1" dirty="0">
              <a:solidFill>
                <a:srgbClr val="FF0000"/>
              </a:solidFill>
            </a:endParaRPr>
          </a:p>
          <a:p>
            <a:pPr algn="ctr" eaLnBrk="0" hangingPunct="0">
              <a:lnSpc>
                <a:spcPct val="150000"/>
              </a:lnSpc>
            </a:pPr>
            <a:r>
              <a:rPr lang="en-US" sz="1400" dirty="0">
                <a:solidFill>
                  <a:srgbClr val="006600"/>
                </a:solidFill>
                <a:latin typeface="Times New Roman" pitchFamily="18" charset="0"/>
              </a:rPr>
              <a:t> </a:t>
            </a:r>
            <a:endParaRPr lang="ru-RU" sz="1400" b="1" dirty="0">
              <a:solidFill>
                <a:srgbClr val="006600"/>
              </a:solidFill>
              <a:latin typeface="Times New Roman" pitchFamily="18" charset="0"/>
            </a:endParaRPr>
          </a:p>
          <a:p>
            <a:pPr algn="ctr" eaLnBrk="0" hangingPunct="0"/>
            <a:r>
              <a:rPr lang="ru-RU" sz="1400" b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                         </a:t>
            </a:r>
            <a:r>
              <a:rPr lang="ru-RU" dirty="0" smtClean="0">
                <a:solidFill>
                  <a:srgbClr val="9BBB59"/>
                </a:solidFill>
              </a:rPr>
              <a:t> </a:t>
            </a:r>
            <a:endParaRPr lang="ru-RU" dirty="0">
              <a:solidFill>
                <a:srgbClr val="9BBB59"/>
              </a:solidFill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4211960" y="1355668"/>
            <a:ext cx="4779640" cy="2616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rgbClr val="006600"/>
                </a:solidFill>
                <a:latin typeface="Calibri" pitchFamily="34" charset="0"/>
              </a:rPr>
              <a:t>СТАЛО: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Ведение  документации  в электронном виде учителем-логопедом 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- 3 мин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 Заполнение 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электронного журнала по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коррекционной работе  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- 3 мин</a:t>
            </a:r>
            <a:endParaRPr lang="ru-RU" sz="1200" b="1" dirty="0">
              <a:solidFill>
                <a:schemeClr val="accent3">
                  <a:lumMod val="50000"/>
                </a:schemeClr>
              </a:solidFill>
              <a:latin typeface="Calibri" pitchFamily="34" charset="0"/>
            </a:endParaRP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Систематизация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материалов к инд. занятию и создание электронного банка и методических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материалов 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 - 5  мин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Создание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алгоритма проведения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индивидуального коррекционного занятия и недельного планирования  </a:t>
            </a:r>
          </a:p>
          <a:p>
            <a:pPr eaLnBrk="0" hangingPunct="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latin typeface="Calibri" pitchFamily="34" charset="0"/>
              </a:rPr>
              <a:t>- 10 мин </a:t>
            </a:r>
          </a:p>
          <a:p>
            <a:pPr algn="ctr" eaLnBrk="0" hangingPunct="0"/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Итого </a:t>
            </a:r>
            <a:r>
              <a:rPr lang="ru-RU" sz="1200" b="1" dirty="0">
                <a:solidFill>
                  <a:srgbClr val="FF0000"/>
                </a:solidFill>
                <a:latin typeface="Calibri" pitchFamily="34" charset="0"/>
              </a:rPr>
              <a:t>21 минута</a:t>
            </a:r>
          </a:p>
          <a:p>
            <a:pPr algn="ctr" eaLnBrk="0" hangingPunct="0"/>
            <a:r>
              <a:rPr lang="ru-RU" sz="1200" b="1" dirty="0">
                <a:solidFill>
                  <a:srgbClr val="FF0000"/>
                </a:solidFill>
                <a:latin typeface="Calibri" pitchFamily="34" charset="0"/>
              </a:rPr>
              <a:t> (Экономия времени </a:t>
            </a: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24 минуты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15907" y="4650491"/>
            <a:ext cx="765620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Минимизированы   потери  времени , связанные с подготовкой к индивидуальным коррекционным занятиям.</a:t>
            </a:r>
          </a:p>
          <a:p>
            <a:pPr defTabSz="449263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 b="1" dirty="0"/>
              <a:t>Создана  систематизированная база  пособий для проведения индивидуальных занятий по коррекции речи.</a:t>
            </a:r>
          </a:p>
          <a:p>
            <a:pPr defTabSz="449263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 b="1" dirty="0"/>
              <a:t>Разработан   алгоритм  проведения индивидуального занятия по коррекции  речи.</a:t>
            </a:r>
          </a:p>
          <a:p>
            <a:pPr defTabSz="449263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 b="1" dirty="0"/>
              <a:t>Создана и применяется  доски задач </a:t>
            </a:r>
            <a:r>
              <a:rPr lang="ru-RU" sz="1400" b="1" dirty="0" err="1"/>
              <a:t>Канбан</a:t>
            </a:r>
            <a:r>
              <a:rPr lang="ru-RU" sz="1400" b="1" dirty="0"/>
              <a:t> для планирования индивидуальной   коррекционной работы </a:t>
            </a:r>
            <a:r>
              <a:rPr lang="ru-RU" sz="1400" dirty="0"/>
              <a:t>. </a:t>
            </a:r>
            <a:endParaRPr lang="ru-RU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850137" y="4281159"/>
            <a:ext cx="5758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Результат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88339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79712" y="789013"/>
            <a:ext cx="5941347" cy="371264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t="18267" r="9725" b="6970"/>
          <a:stretch/>
        </p:blipFill>
        <p:spPr bwMode="auto">
          <a:xfrm>
            <a:off x="395536" y="1484784"/>
            <a:ext cx="8117092" cy="4257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AC7F4D-E65F-462B-8A35-B149C55565DD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67544" y="1250244"/>
            <a:ext cx="8219256" cy="4875920"/>
          </a:xfrm>
        </p:spPr>
        <p:txBody>
          <a:bodyPr>
            <a:normAutofit/>
          </a:bodyPr>
          <a:lstStyle/>
          <a:p>
            <a:r>
              <a:rPr lang="ru-RU" sz="2000" dirty="0"/>
              <a:t>Руководитель проекта </a:t>
            </a:r>
            <a:r>
              <a:rPr lang="ru-RU" sz="2000" dirty="0" smtClean="0"/>
              <a:t>–</a:t>
            </a:r>
            <a:r>
              <a:rPr lang="ru-RU" sz="2000" dirty="0" err="1" smtClean="0"/>
              <a:t>Устьянцева</a:t>
            </a:r>
            <a:r>
              <a:rPr lang="ru-RU" sz="2000" dirty="0" smtClean="0"/>
              <a:t> Ирина Анатольевна, </a:t>
            </a:r>
          </a:p>
          <a:p>
            <a:pPr marL="0" indent="0">
              <a:buNone/>
            </a:pPr>
            <a:r>
              <a:rPr lang="ru-RU" sz="2000" dirty="0" smtClean="0"/>
              <a:t>заведующий МБДОУ «ДС № 404 г. Челябинска»</a:t>
            </a:r>
            <a:endParaRPr lang="ru-RU" sz="2000" dirty="0"/>
          </a:p>
          <a:p>
            <a:endParaRPr lang="ru-RU" sz="2000" dirty="0" smtClean="0"/>
          </a:p>
          <a:p>
            <a:endParaRPr lang="ru-RU" sz="2000" dirty="0"/>
          </a:p>
          <a:p>
            <a:endParaRPr lang="ru-RU" sz="2000" dirty="0" smtClean="0"/>
          </a:p>
          <a:p>
            <a:r>
              <a:rPr lang="ru-RU" sz="2000" dirty="0" smtClean="0"/>
              <a:t>Команда </a:t>
            </a:r>
            <a:r>
              <a:rPr lang="ru-RU" sz="2000" dirty="0" smtClean="0"/>
              <a:t>проекта</a:t>
            </a:r>
            <a:endParaRPr lang="ru-RU" sz="20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2360" y="1874402"/>
            <a:ext cx="5941347" cy="371264"/>
          </a:xfrm>
          <a:prstGeom prst="rect">
            <a:avLst/>
          </a:prstGeom>
        </p:spPr>
      </p:pic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mdou404.lbihost.ru/space/63/2017/10/%D0%BC%D0%B0%D0%BC%D0%B0-234x300-1-234x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551" y="1181965"/>
            <a:ext cx="1439889" cy="1670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72" t="16505" r="11621" b="57681"/>
          <a:stretch/>
        </p:blipFill>
        <p:spPr bwMode="auto">
          <a:xfrm>
            <a:off x="1410849" y="3586576"/>
            <a:ext cx="1432959" cy="1714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6" descr="https://sun9-74.userapi.com/impg/4H-343x2TC2WkWNwOOBdELndCdqGiKhsTUd6Ng/T76Keto-NAo.jpg?size=1440x2160&amp;quality=95&amp;sign=6607681a8136be85b943b393c448d67e&amp;type=album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9" t="22149" r="29177" b="41222"/>
          <a:stretch/>
        </p:blipFill>
        <p:spPr bwMode="auto">
          <a:xfrm>
            <a:off x="3756439" y="3586576"/>
            <a:ext cx="1319617" cy="1935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https://sun9-67.userapi.com/impg/_SzLTgr2_kGbqJZ8mvbSvoN3tELnuLhn3jlyEA/XY5GNYoyVQU.jpg?size=1072x1309&amp;quality=95&amp;sign=ca7130d39547a628117a8efecf175db1&amp;type=album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60" t="14904" r="38378" b="36306"/>
          <a:stretch/>
        </p:blipFill>
        <p:spPr bwMode="auto">
          <a:xfrm>
            <a:off x="6132703" y="3531567"/>
            <a:ext cx="1172613" cy="191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7"/>
          <p:cNvSpPr>
            <a:spLocks noChangeArrowheads="1"/>
          </p:cNvSpPr>
          <p:nvPr/>
        </p:nvSpPr>
        <p:spPr bwMode="auto">
          <a:xfrm>
            <a:off x="1546821" y="5596238"/>
            <a:ext cx="129698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флетонова</a:t>
            </a: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лия</a:t>
            </a: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Янзуановна</a:t>
            </a:r>
            <a:endParaRPr kumimoji="0" lang="ru-RU" altLang="ru-RU" sz="1000" b="1" i="0" u="none" strike="noStrike" kern="1200" cap="none" spc="0" normalizeH="0" baseline="0" noProof="0" dirty="0" smtClean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итель-логопед 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2"/>
          <p:cNvSpPr>
            <a:spLocks noChangeArrowheads="1"/>
          </p:cNvSpPr>
          <p:nvPr/>
        </p:nvSpPr>
        <p:spPr bwMode="auto">
          <a:xfrm>
            <a:off x="3756439" y="5632627"/>
            <a:ext cx="145077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ухонина</a:t>
            </a: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дежда Яковлевн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итель-логопед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88687" y="5494576"/>
            <a:ext cx="202113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иселева </a:t>
            </a:r>
            <a:endParaRPr kumimoji="0" lang="ru-RU" altLang="ru-RU" sz="1000" b="1" i="0" u="none" strike="noStrike" kern="1200" cap="none" spc="0" normalizeH="0" baseline="0" noProof="0" dirty="0" smtClean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атьяна Павловна </a:t>
            </a:r>
            <a:endParaRPr kumimoji="0" lang="ru-RU" altLang="ru-RU" sz="1000" b="1" i="0" u="none" strike="noStrike" kern="1200" cap="none" spc="0" normalizeH="0" baseline="0" noProof="0" dirty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меститель заведующег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 УМР</a:t>
            </a:r>
            <a:b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29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20803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56886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иказ об открытии проекта за подписью руководителя ОО 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9792" y="1672565"/>
            <a:ext cx="3436240" cy="4513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1141367" y="124968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4131452" y="532279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82637" y="6338048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45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716703"/>
              </p:ext>
            </p:extLst>
          </p:nvPr>
        </p:nvGraphicFramePr>
        <p:xfrm>
          <a:off x="442084" y="1657492"/>
          <a:ext cx="2329716" cy="178300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329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361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итель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логопед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39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Планирование коррекционной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 работы.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Соотнесение  расписания </a:t>
                      </a: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инд.занятий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 индивидуальных маршрутов сопровождения воспитанников, тематического планирования в бумажном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 виде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52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205812"/>
              </p:ext>
            </p:extLst>
          </p:nvPr>
        </p:nvGraphicFramePr>
        <p:xfrm>
          <a:off x="4861610" y="4399072"/>
          <a:ext cx="3928268" cy="23926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отеря рабочего времени при    сопоставлении   рабочей документации учителя-логопеда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100" dirty="0" smtClean="0">
                          <a:cs typeface="Arial" pitchFamily="34" charset="0"/>
                        </a:rPr>
                        <a:t>Потеря рабочего времени на внесение данных в журнал ежедневного планирования занятий и подбор материала</a:t>
                      </a:r>
                      <a:endParaRPr lang="ru-RU" altLang="ru-RU" sz="11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Отсутствие визуализации этапов проведения индивидуального занятия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altLang="ru-RU" sz="1100" b="0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визуализации недельного планирования индивид. работы 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1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772816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500562" y="4715089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708494" y="4090693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2208188" y="113168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7951050" y="113115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2" name="Пятно 1 60"/>
          <p:cNvSpPr/>
          <p:nvPr/>
        </p:nvSpPr>
        <p:spPr>
          <a:xfrm>
            <a:off x="1841515" y="4074024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5062382" y="11046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«Оптимизация </a:t>
            </a: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процесса подготовки к индивидуальному занятию учителя-логопеда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565118"/>
              </p:ext>
            </p:extLst>
          </p:nvPr>
        </p:nvGraphicFramePr>
        <p:xfrm>
          <a:off x="3338228" y="1676861"/>
          <a:ext cx="1751856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итель-логопед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Внесение сведений в журнал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индивидуальных занятий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921019"/>
              </p:ext>
            </p:extLst>
          </p:nvPr>
        </p:nvGraphicFramePr>
        <p:xfrm>
          <a:off x="5984282" y="1656763"/>
          <a:ext cx="1751856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итель-логопед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одбор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материалов для индивидуальных занятий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539747"/>
              </p:ext>
            </p:extLst>
          </p:nvPr>
        </p:nvGraphicFramePr>
        <p:xfrm>
          <a:off x="2254411" y="4715089"/>
          <a:ext cx="1801484" cy="14325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014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4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итель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логопед</a:t>
                      </a:r>
                      <a:endParaRPr lang="ru-RU" sz="11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визуализации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ельного планирования индивид. работы 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961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976508" y="120338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732240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06055" y="421848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2954387" y="424468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5365872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7915814" y="194959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907535" y="201171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5214945"/>
            <a:ext cx="444500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489696"/>
              </p:ext>
            </p:extLst>
          </p:nvPr>
        </p:nvGraphicFramePr>
        <p:xfrm>
          <a:off x="312389" y="4609657"/>
          <a:ext cx="1451299" cy="1617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51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итель-логопед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визуализации этапов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ндивидуального занятия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38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2989605"/>
              </p:ext>
            </p:extLst>
          </p:nvPr>
        </p:nvGraphicFramePr>
        <p:xfrm>
          <a:off x="329902" y="1167566"/>
          <a:ext cx="7954467" cy="5364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траты процесса ведения документации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едение   документации в  бумажном варианте (индивидуальных маршрутов сопровождения воспитанников, журналов</a:t>
                      </a:r>
                      <a:r>
                        <a:rPr lang="ru-RU" alt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ндивидуальных занятий,  тематического планирования)</a:t>
                      </a:r>
                      <a:endParaRPr lang="ru-RU" altLang="ru-RU" sz="1200" b="0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лектронной базы документации (ИОМ, журнал регистрации инд. занятий, тематического планирования)</a:t>
                      </a:r>
                      <a:endParaRPr lang="ru-RU" sz="12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Временные затраты на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иск дидактического материала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ая систематизация дидактических пособий. Материал не систематизирован (хранится на разных носителях, не разбит по возрастам и темам)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тизация банка  дидактических</a:t>
                      </a:r>
                    </a:p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обий. 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подготовку к этапам индивидуального занятия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визуализации этапов проведения индивидуального занятия.</a:t>
                      </a:r>
                      <a:endParaRPr lang="ru-RU" altLang="ru-RU" sz="1200" b="0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 и внедрение в работу алгоритма проведения индивидуального коррекционного занятия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b="1" dirty="0" smtClean="0"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200" b="0" dirty="0" smtClean="0">
                          <a:cs typeface="Times New Roman" pitchFamily="18" charset="0"/>
                        </a:rPr>
                        <a:t>Отсутствие визуализации ежедневного и</a:t>
                      </a:r>
                      <a:r>
                        <a:rPr lang="ru-RU" altLang="ru-RU" sz="1200" b="0" baseline="0" dirty="0" smtClean="0">
                          <a:cs typeface="Times New Roman" pitchFamily="18" charset="0"/>
                        </a:rPr>
                        <a:t> недельного планирования индивидуальной работы</a:t>
                      </a:r>
                      <a:endParaRPr lang="ru-RU" altLang="ru-RU" sz="1200" b="0" dirty="0" smtClean="0"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cs typeface="Times New Roman" pitchFamily="18" charset="0"/>
                        </a:rPr>
                        <a:t>Отсутствие доски планирования задач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использование доски «</a:t>
                      </a:r>
                      <a:r>
                        <a:rPr lang="ru-RU" sz="12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нбан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669774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553" y="671533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552410012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4876732" y="4005064"/>
            <a:ext cx="3865563" cy="2006013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Потеря рабочего времени при сопоставлении рабочей документации учителя-логопеда (расписания занятий и ИОМ воспитанников)</a:t>
            </a:r>
          </a:p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еря рабочего времени на внесение данных в журнал  ежедневного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ирования.</a:t>
            </a:r>
          </a:p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еря времени на поиск  материала для проведения индивидуальных логопедических 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нятий.</a:t>
            </a:r>
          </a:p>
          <a:p>
            <a:pPr>
              <a:defRPr/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Отсутствие визуализации этапов проведения индивидуального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нятия</a:t>
            </a:r>
          </a:p>
          <a:p>
            <a:pPr>
              <a:defRPr/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Отсутствие визуализации (недельного и ежедневного) планирования  индивидуальной работы</a:t>
            </a:r>
          </a:p>
          <a:p>
            <a:pPr>
              <a:defRPr/>
            </a:pP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276447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699792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915816" y="454473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439765" y="5948010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 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726380" y="4269224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75322" y="2252035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29595" y="510901"/>
            <a:ext cx="91229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остоянии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«Оптимизация 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процесса подготовки к индивидуальному занятию учителя-логопеда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i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182590"/>
              </p:ext>
            </p:extLst>
          </p:nvPr>
        </p:nvGraphicFramePr>
        <p:xfrm>
          <a:off x="515888" y="2030073"/>
          <a:ext cx="2039888" cy="156772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39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dirty="0" smtClean="0">
                          <a:latin typeface="+mn-lt"/>
                          <a:cs typeface="Times New Roman" panose="02020603050405020304" pitchFamily="18" charset="0"/>
                        </a:rPr>
                        <a:t>Ведение</a:t>
                      </a:r>
                      <a:r>
                        <a:rPr lang="ru-RU" sz="11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sz="11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документации  в электронном виде (ИОМ</a:t>
                      </a:r>
                      <a:r>
                        <a:rPr lang="ru-RU" sz="11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, журнал регистрации инд. занятий, тематического планировани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27647" y="16088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629769" y="253695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2541257"/>
              </p:ext>
            </p:extLst>
          </p:nvPr>
        </p:nvGraphicFramePr>
        <p:xfrm>
          <a:off x="3144495" y="2139443"/>
          <a:ext cx="1836268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36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полнение  электронного журнала п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ррекционной работе 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0973273"/>
              </p:ext>
            </p:extLst>
          </p:nvPr>
        </p:nvGraphicFramePr>
        <p:xfrm>
          <a:off x="5982858" y="2010218"/>
          <a:ext cx="2048432" cy="152931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484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478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434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иск материалов к инд. занятию в электронном банке  пособий  и методических материалов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8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82270"/>
              </p:ext>
            </p:extLst>
          </p:nvPr>
        </p:nvGraphicFramePr>
        <p:xfrm>
          <a:off x="695367" y="4306920"/>
          <a:ext cx="1872637" cy="1282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72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менение  алгоритма проведения индивидуального коррекционного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заняти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19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646579"/>
              </p:ext>
            </p:extLst>
          </p:nvPr>
        </p:nvGraphicFramePr>
        <p:xfrm>
          <a:off x="3132649" y="4211289"/>
          <a:ext cx="2232651" cy="1449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2326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спользование алгоритма недельного планиро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 использованием доски задач </a:t>
                      </a:r>
                      <a:r>
                        <a:rPr lang="ru-RU" sz="1100" b="1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анбан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61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5089747" y="2526388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8158435" y="2504405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188245" y="4774425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686002" y="4774425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15839" y="161890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871289" y="154513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68204" y="39088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958776" y="3746744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035200" y="1518119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4305993" y="1590991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5870396" y="1564111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843507" y="3539529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191262"/>
              </p:ext>
            </p:extLst>
          </p:nvPr>
        </p:nvGraphicFramePr>
        <p:xfrm>
          <a:off x="6057354" y="3895557"/>
          <a:ext cx="2933746" cy="256028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5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лектронной базы документации (ИОМ, журнал регистрации инд. занятий, тематического планирования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85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2. 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</a:t>
                      </a:r>
                      <a:r>
                        <a:rPr lang="ru-RU" altLang="ru-RU" sz="11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alt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лектронного журнала по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ррекционной работе</a:t>
                      </a:r>
                      <a:endParaRPr lang="ru-RU" altLang="ru-RU" sz="11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5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истематизация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атериалов к инд. занятию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 создание электронного банка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 методических материалов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5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1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алгоритма проведения индивидуального коррекционного занятия</a:t>
                      </a:r>
                      <a:r>
                        <a:rPr lang="ru-RU" altLang="ru-RU" sz="1100" b="0" baseline="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altLang="ru-RU" sz="1100" b="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9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доски </a:t>
                      </a:r>
                      <a:r>
                        <a:rPr lang="ru-RU" altLang="ru-RU" sz="11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анбан</a:t>
                      </a:r>
                      <a:endParaRPr lang="ru-RU" altLang="ru-RU" sz="11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9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3132649" y="3823676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835696" y="3905963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38384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1949958"/>
              </p:ext>
            </p:extLst>
          </p:nvPr>
        </p:nvGraphicFramePr>
        <p:xfrm>
          <a:off x="274158" y="923353"/>
          <a:ext cx="8258281" cy="54260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2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00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5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13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теря рабочего времени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 сопоставлении рабочей документации учителя-логопеда (расписания занятий и ИОМ воспитанников) в бумажном виде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электронной базы документации (ИОМ, журнал регистрации инд. занятий, тематического планирования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дение документации в электронном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иде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теря рабочего времени на внесение данных в журнал  ежедневного планирования в</a:t>
                      </a:r>
                      <a:r>
                        <a:rPr lang="ru-RU" altLang="ru-RU" sz="11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бумажном варианте.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электронного журнала по </a:t>
                      </a:r>
                    </a:p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рекционной работе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дение электронного журнала планирования индивидуальных коррекционных занятий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1113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alt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теря времени на поиск  материала для проведения индивидуальных логопедических  занятий.</a:t>
                      </a: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тизация материалов к инд. занятию и создание электронного банка и методических материалов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 систематизированных баз: </a:t>
                      </a:r>
                    </a:p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ой ,   </a:t>
                      </a:r>
                    </a:p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чатных пособий</a:t>
                      </a:r>
                    </a:p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дидактических материалов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altLang="ru-RU" sz="11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изуализации этапов проведения индивидуального занятия</a:t>
                      </a: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алгоритма проведения индивидуального коррекционного занятия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 и внедрение в работу</a:t>
                      </a:r>
                    </a:p>
                    <a:p>
                      <a:pPr algn="just"/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горитма проведения индивидуального занятия </a:t>
                      </a:r>
                      <a:endParaRPr lang="ru-RU" sz="11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1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визуализации (недельного и ежедневного) планирования  индивидуальной работы</a:t>
                      </a:r>
                      <a:endParaRPr lang="ru-RU" altLang="ru-RU" sz="11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доски </a:t>
                      </a:r>
                      <a:r>
                        <a:rPr lang="ru-RU" sz="12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нбан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нение доски </a:t>
                      </a:r>
                      <a:r>
                        <a:rPr lang="ru-RU" sz="12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нбан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86827" y="461688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0</TotalTime>
  <Words>984</Words>
  <Application>Microsoft Office PowerPoint</Application>
  <PresentationFormat>Экран (4:3)</PresentationFormat>
  <Paragraphs>212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57</cp:revision>
  <cp:lastPrinted>2019-04-25T09:14:46Z</cp:lastPrinted>
  <dcterms:created xsi:type="dcterms:W3CDTF">2018-08-20T14:01:12Z</dcterms:created>
  <dcterms:modified xsi:type="dcterms:W3CDTF">2023-11-26T18:56:24Z</dcterms:modified>
</cp:coreProperties>
</file>